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91"/>
    <p:restoredTop sz="75240"/>
  </p:normalViewPr>
  <p:slideViewPr>
    <p:cSldViewPr snapToGrid="0">
      <p:cViewPr varScale="1">
        <p:scale>
          <a:sx n="94" d="100"/>
          <a:sy n="94" d="100"/>
        </p:scale>
        <p:origin x="1616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0/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418253"/>
              </p:ext>
            </p:extLst>
          </p:nvPr>
        </p:nvGraphicFramePr>
        <p:xfrm>
          <a:off x="98198" y="879197"/>
          <a:ext cx="8945798" cy="566057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06475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352469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143482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10236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116106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169894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2047136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3159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 dirty="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 dirty="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4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7d 1h</a:t>
                      </a:r>
                      <a:br/>
                      <a:r>
                        <a:t> (⬆ - 6h 11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3 / 5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8 / 8</a:t>
                      </a:r>
                      <a:br/>
                      <a:r>
                        <a:t> (⬇ + 5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6 (52 - 22 - 12)</a:t>
                      </a:r>
                      <a:br/>
                      <a:r>
                        <a:t> (⬆ + 5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7.11% - 24.02% - 8.87%</a:t>
                      </a:r>
                      <a:br/>
                      <a:r>
                        <a:t> (⬆ - 2.98% / ⬇ + 3.52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16h</a:t>
                      </a:r>
                      <a:br/>
                      <a:r>
                        <a:t> (⬆ - 4d 8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 / 2</a:t>
                      </a:r>
                      <a:br/>
                      <a:r>
                        <a:t> (⬇ +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00 (71 - 21 - 8)</a:t>
                      </a:r>
                      <a:br/>
                      <a:r>
                        <a:t> (⬇ - 1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6.75% - 9.88% - 13.37%</a:t>
                      </a:r>
                      <a:br/>
                      <a:r>
                        <a:t> (⬆ - 4.61% / ⬇ + 11.0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5d 10h</a:t>
                      </a:r>
                      <a:br/>
                      <a:r>
                        <a:t> (⬇ + 14h 51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 / 0</a:t>
                      </a:r>
                      <a:br/>
                      <a:r>
                        <a:t> (⬇ +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 / 2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0 (21 - 13 - 6)</a:t>
                      </a:r>
                      <a:br/>
                      <a:r>
                        <a:t> (⬆ + 1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4.87% - 8.36% - 6.77%</a:t>
                      </a:r>
                      <a:br/>
                      <a:r>
                        <a:t> (⬇ + 5.74% / ⬆ - 8.68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pPr algn="ctr"/>
                      <a:endParaRPr lang="es-ES" sz="1200" noProof="1">
                        <a:solidFill>
                          <a:srgbClr val="FFFFFF"/>
                        </a:solidFill>
                        <a:latin typeface="Inter"/>
                      </a:endParaRP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Ticketing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1d 20h</a:t>
                      </a:r>
                      <a:br/>
                      <a:r>
                        <a:t> (⬆ - 2d 14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1 / 3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3 / 3</a:t>
                      </a:r>
                      <a:br/>
                      <a:r>
                        <a:t> (⬇ + 11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4 (67 - 19 - 8)</a:t>
                      </a:r>
                      <a:br/>
                      <a:r>
                        <a:t> (⬆ + 7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1.9% - 4.72% - 3.37%</a:t>
                      </a:r>
                      <a:br/>
                      <a:r>
                        <a:t> (⬆ - 5.62% / ⬆ - 1.07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027789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23h</a:t>
                      </a:r>
                      <a:br/>
                      <a:r>
                        <a:t> (⬇ + 15h 52m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 / 5</a:t>
                      </a:r>
                      <a:br/>
                      <a:r>
                        <a:t> (⬇ + 7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 / 6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1 (40 - 18 - 3)</a:t>
                      </a:r>
                      <a:br/>
                      <a:r>
                        <a:t> (⬇ - 3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3.63% - 13.42% - 12.94%</a:t>
                      </a:r>
                      <a:br/>
                      <a:r>
                        <a:t> (⬆ - 4.4% / ⬇ + 8.97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9h</a:t>
                      </a:r>
                      <a:br/>
                      <a:r>
                        <a:t> (⬇ + 1d 20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2</a:t>
                      </a:r>
                      <a:br/>
                      <a:r>
                        <a:t> (⬇ + 8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2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3 (32 - 16 - 5)</a:t>
                      </a:r>
                      <a:br/>
                      <a:r>
                        <a:t> (⬇ - 2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0.68% - 3.97% - 5.35%</a:t>
                      </a:r>
                      <a:br/>
                      <a:r>
                        <a:t> (⬆ - 7.73% / ⬆ - 0.88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3d 16h</a:t>
                      </a:r>
                      <a:br/>
                      <a:r>
                        <a:t> (⬇ + 12d 20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8 (4 - 23 - 1)</a:t>
                      </a:r>
                      <a:br/>
                      <a:r>
                        <a:t> (⬆ + 1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0.84% - 13.48% - 15.68%</a:t>
                      </a:r>
                      <a:br/>
                      <a:r>
                        <a:t> (⬇ + 8.01% / ⬇ + 9.18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1d 9h</a:t>
                      </a:r>
                      <a:br/>
                      <a:r>
                        <a:t> (⬆ - 11h 15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3 (45 - 14 - 4)</a:t>
                      </a:r>
                      <a:br/>
                      <a:r>
                        <a:t> (⬆ + 4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5.54% - 18.86% - 5.6%</a:t>
                      </a:r>
                      <a:br/>
                      <a:r>
                        <a:t> (⬇ + 0.69% / ⬆ - 9.3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10h</a:t>
                      </a:r>
                      <a:br/>
                      <a:r>
                        <a:t> (⬇ + 15h 59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 / 3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3</a:t>
                      </a:r>
                      <a:br/>
                      <a:r>
                        <a:t> (⬆ -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1 (15 - 8 - 8)</a:t>
                      </a:r>
                      <a:br/>
                      <a:r>
                        <a:t> (⬆ + 1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5.88% - 8.02% - 6.11%</a:t>
                      </a:r>
                      <a:br/>
                      <a:r>
                        <a:t> (⬆ - 12.25% / ⬇ + 5.01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134548" y="-29601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 dirty="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 dirty="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6633307" y="251817"/>
            <a:ext cx="2419747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Febrero - 2024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32933" y="996922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218190" y="1088456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218190" y="2462673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189" y="3926248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66360" y="3925364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81429" y="4193006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218188" y="3207154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07AB0DF-51D5-20B1-6F54-22910840E56E}"/>
              </a:ext>
            </a:extLst>
          </p:cNvPr>
          <p:cNvGrpSpPr/>
          <p:nvPr/>
        </p:nvGrpSpPr>
        <p:grpSpPr>
          <a:xfrm>
            <a:off x="-7316146" y="190384"/>
            <a:ext cx="2696309" cy="1796144"/>
            <a:chOff x="-3942306" y="3197889"/>
            <a:chExt cx="2696309" cy="1796144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6384EEE-7747-1BBB-5AA7-7E313AD736FB}"/>
                </a:ext>
              </a:extLst>
            </p:cNvPr>
            <p:cNvSpPr/>
            <p:nvPr/>
          </p:nvSpPr>
          <p:spPr>
            <a:xfrm>
              <a:off x="-3942306" y="3197889"/>
              <a:ext cx="2696309" cy="1796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31750"/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BR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37A4ED70-EBE2-D167-B1F6-45F62F3965A0}"/>
                </a:ext>
              </a:extLst>
            </p:cNvPr>
            <p:cNvSpPr/>
            <p:nvPr/>
          </p:nvSpPr>
          <p:spPr>
            <a:xfrm>
              <a:off x="-3729616" y="3351649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AAB493B-DC19-6AE9-7185-580AC5661581}"/>
                </a:ext>
              </a:extLst>
            </p:cNvPr>
            <p:cNvSpPr txBox="1"/>
            <p:nvPr/>
          </p:nvSpPr>
          <p:spPr>
            <a:xfrm>
              <a:off x="-3821724" y="3429000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Deploy Time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162F7F8-CB2C-55B0-8C7A-358F52D9CFA7}"/>
                </a:ext>
              </a:extLst>
            </p:cNvPr>
            <p:cNvSpPr txBox="1"/>
            <p:nvPr/>
          </p:nvSpPr>
          <p:spPr>
            <a:xfrm>
              <a:off x="-3821724" y="3758140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0256134-B796-4D1B-39E3-29B5B9D25B82}"/>
                </a:ext>
              </a:extLst>
            </p:cNvPr>
            <p:cNvSpPr txBox="1"/>
            <p:nvPr/>
          </p:nvSpPr>
          <p:spPr>
            <a:xfrm>
              <a:off x="-3821725" y="4471366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3E34734-150F-C1B6-1E21-746A695E22E6}"/>
              </a:ext>
            </a:extLst>
          </p:cNvPr>
          <p:cNvGrpSpPr/>
          <p:nvPr/>
        </p:nvGrpSpPr>
        <p:grpSpPr>
          <a:xfrm>
            <a:off x="-7316146" y="2044913"/>
            <a:ext cx="4798087" cy="1796144"/>
            <a:chOff x="-4232032" y="2519556"/>
            <a:chExt cx="4798087" cy="1796144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FAB9633-23C1-14F3-A688-12575AA223E1}"/>
                </a:ext>
              </a:extLst>
            </p:cNvPr>
            <p:cNvSpPr/>
            <p:nvPr/>
          </p:nvSpPr>
          <p:spPr>
            <a:xfrm>
              <a:off x="-4232032" y="2519556"/>
              <a:ext cx="4777989" cy="1796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31750"/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BR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144211D9-B5E9-920A-FF68-2D589C6B6378}"/>
                </a:ext>
              </a:extLst>
            </p:cNvPr>
            <p:cNvSpPr/>
            <p:nvPr/>
          </p:nvSpPr>
          <p:spPr>
            <a:xfrm>
              <a:off x="-4139923" y="2663765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4B1FBF-5F62-7D20-C15A-92E5F42BD9AF}"/>
                </a:ext>
              </a:extLst>
            </p:cNvPr>
            <p:cNvSpPr txBox="1"/>
            <p:nvPr/>
          </p:nvSpPr>
          <p:spPr>
            <a:xfrm>
              <a:off x="-4232031" y="2741116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Review Tim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576E9F-67DD-0D53-6ADE-5B32BAF7933F}"/>
                </a:ext>
              </a:extLst>
            </p:cNvPr>
            <p:cNvSpPr txBox="1"/>
            <p:nvPr/>
          </p:nvSpPr>
          <p:spPr>
            <a:xfrm>
              <a:off x="-4232031" y="3070256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731E4AD-86B3-A6BA-684E-53527000182F}"/>
                </a:ext>
              </a:extLst>
            </p:cNvPr>
            <p:cNvSpPr txBox="1"/>
            <p:nvPr/>
          </p:nvSpPr>
          <p:spPr>
            <a:xfrm>
              <a:off x="-4232032" y="3783482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223CB907-4326-389B-822F-5F8FA6BA0288}"/>
                </a:ext>
              </a:extLst>
            </p:cNvPr>
            <p:cNvSpPr/>
            <p:nvPr/>
          </p:nvSpPr>
          <p:spPr>
            <a:xfrm>
              <a:off x="-1817082" y="2654351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C3F3599-5CB2-C029-7804-9FA10A840B59}"/>
                </a:ext>
              </a:extLst>
            </p:cNvPr>
            <p:cNvSpPr txBox="1"/>
            <p:nvPr/>
          </p:nvSpPr>
          <p:spPr>
            <a:xfrm>
              <a:off x="-1909190" y="2731702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Deploy Tim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F301003-6B33-EE5F-4E8E-9D21C67D0BF1}"/>
                </a:ext>
              </a:extLst>
            </p:cNvPr>
            <p:cNvSpPr txBox="1"/>
            <p:nvPr/>
          </p:nvSpPr>
          <p:spPr>
            <a:xfrm>
              <a:off x="-1909190" y="3060842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6E86592-DE21-35F6-29E1-BE9C874703C9}"/>
                </a:ext>
              </a:extLst>
            </p:cNvPr>
            <p:cNvSpPr txBox="1"/>
            <p:nvPr/>
          </p:nvSpPr>
          <p:spPr>
            <a:xfrm>
              <a:off x="-1909191" y="3774068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36044B5-389C-DB85-B607-CF1FEBCF1A1A}"/>
              </a:ext>
            </a:extLst>
          </p:cNvPr>
          <p:cNvGrpSpPr/>
          <p:nvPr/>
        </p:nvGrpSpPr>
        <p:grpSpPr>
          <a:xfrm>
            <a:off x="-7316146" y="4006885"/>
            <a:ext cx="7120928" cy="1796144"/>
            <a:chOff x="-4221985" y="4460948"/>
            <a:chExt cx="7120928" cy="179614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CA5E742-563B-91EA-52D2-19856CBDD5EA}"/>
                </a:ext>
              </a:extLst>
            </p:cNvPr>
            <p:cNvSpPr/>
            <p:nvPr/>
          </p:nvSpPr>
          <p:spPr>
            <a:xfrm>
              <a:off x="-4221984" y="4460948"/>
              <a:ext cx="7120926" cy="1796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31750"/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BR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7663F9AF-7E38-88F0-D8EE-D4AF4C549CEC}"/>
                </a:ext>
              </a:extLst>
            </p:cNvPr>
            <p:cNvSpPr/>
            <p:nvPr/>
          </p:nvSpPr>
          <p:spPr>
            <a:xfrm>
              <a:off x="-4129876" y="4605157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58FECB8-352C-F455-5E2F-EC3BB4FE68C0}"/>
                </a:ext>
              </a:extLst>
            </p:cNvPr>
            <p:cNvSpPr txBox="1"/>
            <p:nvPr/>
          </p:nvSpPr>
          <p:spPr>
            <a:xfrm>
              <a:off x="-4221984" y="4682508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Pickup Tim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A03D266-51ED-42CB-3307-D6BE675C3261}"/>
                </a:ext>
              </a:extLst>
            </p:cNvPr>
            <p:cNvSpPr txBox="1"/>
            <p:nvPr/>
          </p:nvSpPr>
          <p:spPr>
            <a:xfrm>
              <a:off x="-4221984" y="5011648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CA4C400-DFA3-2059-D3CC-A9C5F0BDB141}"/>
                </a:ext>
              </a:extLst>
            </p:cNvPr>
            <p:cNvSpPr txBox="1"/>
            <p:nvPr/>
          </p:nvSpPr>
          <p:spPr>
            <a:xfrm>
              <a:off x="-4221985" y="5724874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E3810CCD-FCCC-5DC7-05A0-DA6C0AEB3FC4}"/>
                </a:ext>
              </a:extLst>
            </p:cNvPr>
            <p:cNvSpPr/>
            <p:nvPr/>
          </p:nvSpPr>
          <p:spPr>
            <a:xfrm>
              <a:off x="-1807035" y="4595743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8D0DB94-859B-A8D9-68FC-CAFE413263A0}"/>
                </a:ext>
              </a:extLst>
            </p:cNvPr>
            <p:cNvSpPr txBox="1"/>
            <p:nvPr/>
          </p:nvSpPr>
          <p:spPr>
            <a:xfrm>
              <a:off x="-1899143" y="4673094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Review Tim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190731A-B6A3-909D-FA85-C7D2D5E7F326}"/>
                </a:ext>
              </a:extLst>
            </p:cNvPr>
            <p:cNvSpPr txBox="1"/>
            <p:nvPr/>
          </p:nvSpPr>
          <p:spPr>
            <a:xfrm>
              <a:off x="-1899143" y="5002234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C89F42E-D376-E0E4-80B9-9806A9A6A905}"/>
                </a:ext>
              </a:extLst>
            </p:cNvPr>
            <p:cNvSpPr txBox="1"/>
            <p:nvPr/>
          </p:nvSpPr>
          <p:spPr>
            <a:xfrm>
              <a:off x="-1899144" y="5715460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C559F5A1-B8FF-5CA2-EF4D-D672E87154ED}"/>
                </a:ext>
              </a:extLst>
            </p:cNvPr>
            <p:cNvSpPr/>
            <p:nvPr/>
          </p:nvSpPr>
          <p:spPr>
            <a:xfrm>
              <a:off x="515806" y="4586329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9BB73E1-F4AB-320A-E569-B0E18F43E6B8}"/>
                </a:ext>
              </a:extLst>
            </p:cNvPr>
            <p:cNvSpPr txBox="1"/>
            <p:nvPr/>
          </p:nvSpPr>
          <p:spPr>
            <a:xfrm>
              <a:off x="423698" y="4663680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Deploy Tim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4FF9C88-F246-2A7C-8437-A2B28EF10874}"/>
                </a:ext>
              </a:extLst>
            </p:cNvPr>
            <p:cNvSpPr txBox="1"/>
            <p:nvPr/>
          </p:nvSpPr>
          <p:spPr>
            <a:xfrm>
              <a:off x="423698" y="4992820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035B716-62C3-8BD6-2057-BAD43D8D9376}"/>
                </a:ext>
              </a:extLst>
            </p:cNvPr>
            <p:cNvSpPr txBox="1"/>
            <p:nvPr/>
          </p:nvSpPr>
          <p:spPr>
            <a:xfrm>
              <a:off x="423697" y="5706046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552</Words>
  <Application>Microsoft Macintosh PowerPoint</Application>
  <PresentationFormat>Widescreen</PresentationFormat>
  <Paragraphs>10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10</cp:revision>
  <dcterms:created xsi:type="dcterms:W3CDTF">2023-10-30T14:38:48Z</dcterms:created>
  <dcterms:modified xsi:type="dcterms:W3CDTF">2024-02-20T17:2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